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3809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5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0" d="100"/>
          <a:sy n="90" d="100"/>
        </p:scale>
        <p:origin x="276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3C8938C-F7C4-8F80-B76D-8E5828E748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CE8C5F-C87E-5A9E-393F-C633A9F135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1907B-92E3-465C-8F1A-C6A87E1A7DFF}" type="datetimeFigureOut">
              <a:rPr lang="de-DE" smtClean="0"/>
              <a:t>27.10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4BC41-9DA5-3618-D94C-1D855CD91B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95FFC6-9917-2805-EDE8-3CC72A7F4B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62936A-2A3B-48E7-BE94-4C10797AF3A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0738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CAD11-46DD-49D9-9A4A-67E2C327DE44}" type="datetimeFigureOut">
              <a:rPr lang="de-DE" smtClean="0"/>
              <a:t>27.10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9749F4-2742-46C4-8D42-C5F8E7A5CAA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2687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19B0448-40C8-4165-B6A2-FB4D59C3E1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687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6" imgH="396" progId="TCLayout.ActiveDocument.1">
                  <p:embed/>
                </p:oleObj>
              </mc:Choice>
              <mc:Fallback>
                <p:oleObj name="think-cell Slide" r:id="rId3" imgW="396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19B0448-40C8-4165-B6A2-FB4D59C3E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">
            <a:extLst>
              <a:ext uri="{FF2B5EF4-FFF2-40B4-BE49-F238E27FC236}">
                <a16:creationId xmlns:a16="http://schemas.microsoft.com/office/drawing/2014/main" id="{A4E41F61-51A6-445D-BF1A-47B023846F1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 bwMode="gray">
          <a:xfrm>
            <a:off x="1" y="1"/>
            <a:ext cx="12192000" cy="6857999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144000" tIns="144000" rIns="144000" bIns="144000" rtlCol="0">
            <a:noAutofit/>
          </a:bodyPr>
          <a:lstStyle>
            <a:lvl1pPr>
              <a:defRPr lang="en-US" dirty="0"/>
            </a:lvl1pPr>
          </a:lstStyle>
          <a:p>
            <a:pPr marL="0" lvl="0" indent="0">
              <a:buNone/>
            </a:pPr>
            <a:r>
              <a:rPr lang="en-US" noProof="0"/>
              <a:t>Click icon to add picture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E9AFA1A-061A-4BF6-8BD7-DBD18747968F}"/>
              </a:ext>
            </a:extLst>
          </p:cNvPr>
          <p:cNvCxnSpPr/>
          <p:nvPr userDrawn="1"/>
        </p:nvCxnSpPr>
        <p:spPr bwMode="gray">
          <a:xfrm>
            <a:off x="541409" y="2638628"/>
            <a:ext cx="3105554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E7DBA32-589E-4C50-BADE-B8B898FF45A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541408" y="2946127"/>
            <a:ext cx="5328694" cy="168275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0A07EE6-7EF7-40CC-A9C0-2913DC11F8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541408" y="383029"/>
            <a:ext cx="5328694" cy="264668"/>
          </a:xfrm>
        </p:spPr>
        <p:txBody>
          <a:bodyPr anchor="ctr"/>
          <a:lstStyle>
            <a:lvl1pPr marL="0" indent="0">
              <a:lnSpc>
                <a:spcPct val="110000"/>
              </a:lnSpc>
              <a:buNone/>
              <a:defRPr sz="1200" b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03D5C2D9-8F2D-4882-BA6B-DA0AB02A2F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41409" y="814214"/>
            <a:ext cx="5328694" cy="1682750"/>
          </a:xfrm>
        </p:spPr>
        <p:txBody>
          <a:bodyPr anchor="ctr"/>
          <a:lstStyle>
            <a:lvl1pPr marL="0" indent="0">
              <a:lnSpc>
                <a:spcPct val="110000"/>
              </a:lnSpc>
              <a:buNone/>
              <a:defRPr sz="4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07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-Bildkombina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349A04-1F49-43FB-AC18-7994D2E6A4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542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349A04-1F49-43FB-AC18-7994D2E6A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0F6EFF-A288-4AD3-B0CF-2B3001CE058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8" name="Bild 3"/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372400" y="1511850"/>
            <a:ext cx="3819600" cy="48096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9C003885-9E5D-4926-B399-E989BC06C0C6}"/>
              </a:ext>
            </a:extLst>
          </p:cNvPr>
          <p:cNvSpPr>
            <a:spLocks noGrp="1"/>
          </p:cNvSpPr>
          <p:nvPr>
            <p:ph sz="quarter" idx="23"/>
          </p:nvPr>
        </p:nvSpPr>
        <p:spPr bwMode="gray">
          <a:xfrm>
            <a:off x="540069" y="1511850"/>
            <a:ext cx="7641906" cy="480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DB2662F6-115C-474F-AB66-B46B541993C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2F421F5-68DA-4088-82D6-D652B29810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0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kombina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33A917-7E2C-440D-B637-A69A2F5A3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715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33A917-7E2C-440D-B637-A69A2F5A3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26F2A0-0501-41C2-8CD6-75D939B7C5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Bild"/>
          <p:cNvSpPr>
            <a:spLocks noGrp="1"/>
          </p:cNvSpPr>
          <p:nvPr>
            <p:ph type="pic" sz="quarter" idx="14"/>
          </p:nvPr>
        </p:nvSpPr>
        <p:spPr bwMode="gray">
          <a:xfrm>
            <a:off x="6311622" y="1512000"/>
            <a:ext cx="5339495" cy="42984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5CE295A-C98F-408B-AEA4-54DCEDE35012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540070" y="1512000"/>
            <a:ext cx="5339495" cy="42984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DA88D6-9D19-4ACC-9457-BAF1B4F524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ABE721C-4B05-45AE-B503-3C556285EB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72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9B3893-E99E-48A5-A538-55FB2CB7DF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3162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9B3893-E99E-48A5-A538-55FB2CB7DF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A1331B-22CE-4308-97AD-6D1D7C65F7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Inhalt"/>
          <p:cNvSpPr>
            <a:spLocks noGrp="1"/>
          </p:cNvSpPr>
          <p:nvPr>
            <p:ph idx="16"/>
          </p:nvPr>
        </p:nvSpPr>
        <p:spPr bwMode="gray">
          <a:xfrm>
            <a:off x="540070" y="1512000"/>
            <a:ext cx="5339495" cy="20681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Bild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1" y="3936540"/>
            <a:ext cx="12192000" cy="236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CEDB6B2F-EBB8-4A11-984B-A0916377A5F1}"/>
              </a:ext>
            </a:extLst>
          </p:cNvPr>
          <p:cNvSpPr>
            <a:spLocks noGrp="1"/>
          </p:cNvSpPr>
          <p:nvPr>
            <p:ph idx="17"/>
          </p:nvPr>
        </p:nvSpPr>
        <p:spPr bwMode="gray">
          <a:xfrm>
            <a:off x="6311622" y="1512000"/>
            <a:ext cx="5339495" cy="206815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69CA57-91E3-4BBA-96BE-2692C87D902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BC628FA8-7488-4FA4-B436-4EC18C3081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71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1F458-5455-4C90-92F4-B6B76F5F5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64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1F458-5455-4C90-92F4-B6B76F5F5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0D1D0C-0A1D-4D3B-AF31-5EB847C654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070" y="1512000"/>
            <a:ext cx="11111046" cy="3204000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D328AA9-E119-4580-90C0-6F8AF91C928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453D282-B358-4225-91E5-6A87952B1A30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40070" y="4989600"/>
            <a:ext cx="11111046" cy="8208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defRPr sz="14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52F1A7CC-BD92-495E-879E-A993D367B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03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1A05A9-36BD-46F1-84B9-45F38C4224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3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1A05A9-36BD-46F1-84B9-45F38C422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902F6CE-56DE-4DD5-9FCE-AD1DA528D8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070" y="2606400"/>
            <a:ext cx="11111046" cy="3204000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453D282-B358-4225-91E5-6A87952B1A30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40070" y="1512000"/>
            <a:ext cx="11111046" cy="820800"/>
          </a:xfrm>
        </p:spPr>
        <p:txBody>
          <a:bodyPr/>
          <a:lstStyle>
            <a:lvl1pPr marL="0" indent="0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BAECEC5-9F39-46D8-AF6C-F3C796662E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72C9B7-D734-469C-B54F-3BC251907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786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DCC45-4867-4846-8D71-49414A817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77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BDCC45-4867-4846-8D71-49414A817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F8FED18-E6C1-4DF0-8D55-6472990E37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3C136B-68E8-4F0D-AE02-A042EAACA9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D3354BD-7D51-4EE3-A44E-991387854A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5049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A7CCEA5-8D33-4186-A6CE-6FF9047716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1829173" y="2716943"/>
            <a:ext cx="2976771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FB172E0-7462-4443-A513-D875DA5665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D89B7AC-1C73-4F63-B2D9-1B89E3E966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7CC58F3A-6B0D-481B-81AD-B89F34A7E1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7385870" y="2716943"/>
            <a:ext cx="2976771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8751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ADC923-C4CB-402C-8608-1B44C39AA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48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ADC923-C4CB-402C-8608-1B44C39AA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F864339-3D8E-45CA-8A8A-417A61793B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3C136B-68E8-4F0D-AE02-A042EAACA9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D3354BD-7D51-4EE3-A44E-991387854A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5049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81D4EE3-3C44-439B-90D5-21809BC8588B}"/>
              </a:ext>
            </a:extLst>
          </p:cNvPr>
          <p:cNvCxnSpPr>
            <a:cxnSpLocks/>
          </p:cNvCxnSpPr>
          <p:nvPr userDrawn="1"/>
        </p:nvCxnSpPr>
        <p:spPr bwMode="gray">
          <a:xfrm flipH="1">
            <a:off x="540476" y="3661200"/>
            <a:ext cx="111110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A7CCEA5-8D33-4186-A6CE-6FF9047716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1829173" y="1642343"/>
            <a:ext cx="2976771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62972439-4E17-4F2D-8CAF-31BF330281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829174" y="3791543"/>
            <a:ext cx="297677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FB172E0-7462-4443-A513-D875DA5665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D89B7AC-1C73-4F63-B2D9-1B89E3E966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7CC58F3A-6B0D-481B-81AD-B89F34A7E1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7385870" y="1642343"/>
            <a:ext cx="2976771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27AC1125-1174-4977-A228-2015BD2ACF7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7385871" y="3791543"/>
            <a:ext cx="297677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243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3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0B2378-6E2B-4405-9825-D872A9FACD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358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0B2378-6E2B-4405-9825-D872A9FAC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DC05BC-9CFD-466F-B7B9-0A81FA89D6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3C136B-68E8-4F0D-AE02-A042EAACA9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C23C8F7-AD02-449F-A190-048EB12932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43872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D3354BD-7D51-4EE3-A44E-991387854A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947268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81D4EE3-3C44-439B-90D5-21809BC8588B}"/>
              </a:ext>
            </a:extLst>
          </p:cNvPr>
          <p:cNvCxnSpPr>
            <a:cxnSpLocks/>
          </p:cNvCxnSpPr>
          <p:nvPr userDrawn="1"/>
        </p:nvCxnSpPr>
        <p:spPr bwMode="gray">
          <a:xfrm flipH="1">
            <a:off x="540476" y="3661200"/>
            <a:ext cx="111110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A7CCEA5-8D33-4186-A6CE-6FF9047716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1177923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03FD826-0A24-4147-B491-1C5E3B8030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4881142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D9F3EB5-8E42-4C27-891E-23421F3B62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8584626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62972439-4E17-4F2D-8CAF-31BF330281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177923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9EA49016-95D4-46A9-A6BC-54B9BABE26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4881142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FFC9F9A-CEF4-41F3-9E6E-3F76FE4C48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8584626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FB172E0-7462-4443-A513-D875DA5665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D89B7AC-1C73-4F63-B2D9-1B89E3E966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85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4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2D3DE9-4B9C-4374-BE89-F612279F43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366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2D3DE9-4B9C-4374-BE89-F612279F43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81A32-56CB-4F65-BC40-6409AC2709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13C136B-68E8-4F0D-AE02-A042EAACA9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C23C8F7-AD02-449F-A190-048EB12932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282427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D3354BD-7D51-4EE3-A44E-991387854A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5049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A68318CC-8356-406E-B83D-1DA4BAECFAE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07671" y="1512000"/>
            <a:ext cx="0" cy="4298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81D4EE3-3C44-439B-90D5-21809BC8588B}"/>
              </a:ext>
            </a:extLst>
          </p:cNvPr>
          <p:cNvCxnSpPr>
            <a:cxnSpLocks/>
          </p:cNvCxnSpPr>
          <p:nvPr userDrawn="1"/>
        </p:nvCxnSpPr>
        <p:spPr bwMode="gray">
          <a:xfrm flipH="1">
            <a:off x="540476" y="3661200"/>
            <a:ext cx="111110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F1DBDE1-AB3E-4AF6-9899-E5B4BDF5B4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61908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2A7CCEA5-8D33-4186-A6CE-6FF9047716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3475075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03FD826-0A24-4147-B491-1C5E3B8030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88243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D9F3EB5-8E42-4C27-891E-23421F3B62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9101409" y="16423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6299399C-4BD0-4BD4-8B39-E2463C1A14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61908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62972439-4E17-4F2D-8CAF-31BF330281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475075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9EA49016-95D4-46A9-A6BC-54B9BABE26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6288243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FFC9F9A-CEF4-41F3-9E6E-3F76FE4C48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9101409" y="3791543"/>
            <a:ext cx="2428680" cy="1888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FB172E0-7462-4443-A513-D875DA5665B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BD89B7AC-1C73-4F63-B2D9-1B89E3E966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0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DA0FDC-4C96-4DE4-BA9F-8CE9C8D832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07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DA0FDC-4C96-4DE4-BA9F-8CE9C8D832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630FBCC-46EB-4173-8C2B-FABFF2A052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F3AA9BAC-3CC3-4527-AC41-3F52E1B85531}"/>
              </a:ext>
            </a:extLst>
          </p:cNvPr>
          <p:cNvCxnSpPr>
            <a:cxnSpLocks/>
          </p:cNvCxnSpPr>
          <p:nvPr userDrawn="1"/>
        </p:nvCxnSpPr>
        <p:spPr bwMode="gray">
          <a:xfrm flipH="1">
            <a:off x="540070" y="3429000"/>
            <a:ext cx="11111049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lipse 26">
            <a:extLst>
              <a:ext uri="{FF2B5EF4-FFF2-40B4-BE49-F238E27FC236}">
                <a16:creationId xmlns:a16="http://schemas.microsoft.com/office/drawing/2014/main" id="{E72CC2AB-C4CE-4A0E-A319-179C5713E70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99341" y="1589963"/>
            <a:ext cx="2006938" cy="2008800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27CEE1A8-B9CF-4DA0-9B0C-7EBE83CF6A8D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19576" y="1589963"/>
            <a:ext cx="2006938" cy="2008800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11" name="Bild 1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652645" y="1822117"/>
            <a:ext cx="1540800" cy="15423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583079" y="1950401"/>
            <a:ext cx="3024000" cy="1296000"/>
          </a:xfrm>
        </p:spPr>
        <p:txBody>
          <a:bodyPr anchor="ctr"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6" name="Bild 2"/>
          <p:cNvSpPr>
            <a:spLocks noGrp="1" noChangeAspect="1"/>
          </p:cNvSpPr>
          <p:nvPr>
            <p:ph type="pic" sz="quarter" idx="26"/>
          </p:nvPr>
        </p:nvSpPr>
        <p:spPr bwMode="gray">
          <a:xfrm>
            <a:off x="6332410" y="1822117"/>
            <a:ext cx="1540800" cy="15423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3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262845" y="1950401"/>
            <a:ext cx="3024000" cy="1296000"/>
          </a:xfrm>
        </p:spPr>
        <p:txBody>
          <a:bodyPr anchor="ctr"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9D46620-1478-4D37-89F7-393B0940BB0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34" y="1713305"/>
            <a:ext cx="1760222" cy="1759993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24666D4-2A96-4649-B807-00732A2AB95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222699" y="1713305"/>
            <a:ext cx="1760222" cy="1759993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052559-6712-4D48-8752-C70E6890B1F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C5BE9B7A-233F-4135-8FF8-650DBB8D48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48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55137B-5D44-4EA9-9FF1-5F5E189D6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59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55137B-5D44-4EA9-9FF1-5F5E189D6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D58C7D-4A65-4B58-AA29-AD59D462FE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1553FC-6104-49F7-BF58-3A7EFEC05A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7B938E-1AEB-4010-9F06-6DED0E828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EDFE58-1800-47F5-A2BF-9405AC967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637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9D2E1-D580-4375-9AE8-BE5C194DD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71688F-2E37-4EBC-9D1D-03A0804C95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75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einf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6AE27F-02E2-4A8A-BE6A-D8CA0F9B6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238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6AE27F-02E2-4A8A-BE6A-D8CA0F9B6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79146B-1BFB-4F65-BC4A-EC886705E1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27B938E-1AEB-4010-9F06-6DED0E828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83A5C71-BD01-4D71-B498-A69CBC70EC14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39617" y="1512000"/>
            <a:ext cx="11111046" cy="4298400"/>
          </a:xfrm>
        </p:spPr>
        <p:txBody>
          <a:bodyPr/>
          <a:lstStyle>
            <a:lvl2pPr>
              <a:lnSpc>
                <a:spcPct val="100000"/>
              </a:lnSpc>
              <a:defRPr/>
            </a:lvl2pPr>
            <a:lvl4pPr>
              <a:defRPr sz="12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1550CA7-8D60-481A-B599-D76AFE20E92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7AAC41E5-57F2-4DE9-A125-314507A134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11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57B821-12D1-4BAA-AC3C-C8AE2B7ED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994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57B821-12D1-4BAA-AC3C-C8AE2B7ED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41D335-CF0D-4CEF-A085-CAF102C80E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7B836-22D1-4B2C-8D0A-F456CDDC7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7CB6ED61-F502-4FFA-B790-ED05D1D1B22F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40070" y="1511999"/>
            <a:ext cx="5339495" cy="4298400"/>
          </a:xfrm>
        </p:spPr>
        <p:txBody>
          <a:bodyPr/>
          <a:lstStyle>
            <a:lvl4pPr>
              <a:defRPr sz="12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8F5ED12B-30A5-4A8E-971D-04ABCA4D834E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6311622" y="1511999"/>
            <a:ext cx="5339495" cy="4298400"/>
          </a:xfrm>
        </p:spPr>
        <p:txBody>
          <a:bodyPr/>
          <a:lstStyle>
            <a:lvl4pPr>
              <a:defRPr sz="12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AF065CD-6582-48E6-9F40-326BF3F549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CB1DB28-D906-4662-8530-7830A08E3B2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803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C952A4A-77F3-4C73-8508-AB55106DCC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8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C952A4A-77F3-4C73-8508-AB55106DCC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D40A45-B7A5-4A99-B67E-D0A034BE0C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7B836-22D1-4B2C-8D0A-F456CDDC7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7CB6ED61-F502-4FFA-B790-ED05D1D1B22F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40070" y="1511999"/>
            <a:ext cx="3416845" cy="429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8F5ED12B-30A5-4A8E-971D-04ABCA4D834E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4388971" y="1511999"/>
            <a:ext cx="7265746" cy="429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7A0F90D-9D24-4B5E-B29F-165EB5E075E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3533A96-2CDF-47A2-9500-8801DE266B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40000" y="432000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23FA66EC-B86D-906B-C403-345E46BE7628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>
          <a:xfrm>
            <a:off x="10848974" y="6495675"/>
            <a:ext cx="1257301" cy="288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n-lt"/>
              </a:defRPr>
            </a:lvl1pPr>
          </a:lstStyle>
          <a:p>
            <a:pPr>
              <a:spcAft>
                <a:spcPts val="1000"/>
              </a:spcAft>
            </a:pPr>
            <a:r>
              <a:rPr lang="de-DE" dirty="0"/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121962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F4D29D-407B-49AE-A53A-149D611E48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08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EF4D29D-407B-49AE-A53A-149D611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797263-9C8E-4AE4-AEBC-3E160E8C5F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ext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0070" y="3517050"/>
            <a:ext cx="3416845" cy="360000"/>
          </a:xfrm>
          <a:solidFill>
            <a:schemeClr val="accent1">
              <a:lumMod val="75000"/>
              <a:alpha val="80000"/>
            </a:schemeClr>
          </a:solidFill>
        </p:spPr>
        <p:txBody>
          <a:bodyPr lIns="252000" rIns="180000" anchor="ctr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err="1"/>
              <a:t>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45" name="Inhalt 1"/>
          <p:cNvSpPr>
            <a:spLocks noGrp="1"/>
          </p:cNvSpPr>
          <p:nvPr>
            <p:ph sz="half" idx="19" hasCustomPrompt="1"/>
          </p:nvPr>
        </p:nvSpPr>
        <p:spPr bwMode="gray">
          <a:xfrm>
            <a:off x="540070" y="3877050"/>
            <a:ext cx="3416845" cy="1933200"/>
          </a:xfrm>
          <a:solidFill>
            <a:schemeClr val="bg1">
              <a:lumMod val="95000"/>
            </a:schemeClr>
          </a:solidFill>
        </p:spPr>
        <p:txBody>
          <a:bodyPr lIns="252000" tIns="252000" rIns="252000" bIns="252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8" name="Text 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387171" y="3517050"/>
            <a:ext cx="3416845" cy="360000"/>
          </a:xfrm>
          <a:solidFill>
            <a:schemeClr val="accent1">
              <a:lumMod val="75000"/>
              <a:alpha val="80000"/>
            </a:schemeClr>
          </a:solidFill>
        </p:spPr>
        <p:txBody>
          <a:bodyPr lIns="252000" rIns="180000" anchor="ctr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err="1"/>
              <a:t>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59" name="Inhalt 2"/>
          <p:cNvSpPr>
            <a:spLocks noGrp="1"/>
          </p:cNvSpPr>
          <p:nvPr>
            <p:ph sz="half" idx="23" hasCustomPrompt="1"/>
          </p:nvPr>
        </p:nvSpPr>
        <p:spPr bwMode="gray">
          <a:xfrm>
            <a:off x="4387171" y="3877050"/>
            <a:ext cx="3416845" cy="1933200"/>
          </a:xfrm>
          <a:solidFill>
            <a:schemeClr val="bg1">
              <a:lumMod val="95000"/>
            </a:schemeClr>
          </a:solidFill>
        </p:spPr>
        <p:txBody>
          <a:bodyPr lIns="252000" tIns="252000" rIns="252000" bIns="252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9" name="Text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234272" y="3517050"/>
            <a:ext cx="3416845" cy="360000"/>
          </a:xfrm>
          <a:solidFill>
            <a:schemeClr val="accent1">
              <a:lumMod val="75000"/>
              <a:alpha val="80000"/>
            </a:schemeClr>
          </a:solidFill>
        </p:spPr>
        <p:txBody>
          <a:bodyPr lIns="252000" rIns="180000" anchor="ctr"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err="1"/>
              <a:t>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61" name="Inhalt 3"/>
          <p:cNvSpPr>
            <a:spLocks noGrp="1"/>
          </p:cNvSpPr>
          <p:nvPr>
            <p:ph sz="half" idx="25" hasCustomPrompt="1"/>
          </p:nvPr>
        </p:nvSpPr>
        <p:spPr bwMode="gray">
          <a:xfrm>
            <a:off x="8234272" y="3877050"/>
            <a:ext cx="3416845" cy="1933200"/>
          </a:xfrm>
          <a:solidFill>
            <a:schemeClr val="bg1">
              <a:lumMod val="95000"/>
            </a:schemeClr>
          </a:solidFill>
        </p:spPr>
        <p:txBody>
          <a:bodyPr lIns="252000" tIns="252000" rIns="252000" bIns="252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B6DF6C-301E-49D3-A909-896687DE3BD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 bwMode="gray">
          <a:xfrm>
            <a:off x="539821" y="1512000"/>
            <a:ext cx="11110771" cy="191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F02E56-8235-4E69-9916-826C84871D6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7AAA25A6-E8A8-47D8-8B34-57DEC5F1EB9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88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&amp; Tex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07A7DD-36A1-4F99-B766-BD44654DA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261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07A7DD-36A1-4F99-B766-BD44654DA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982759-24ED-4E56-A7BB-7951CAFE8F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Bild 1"/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1316094" y="1761768"/>
            <a:ext cx="1864800" cy="186626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Text 1"/>
          <p:cNvSpPr>
            <a:spLocks noGrp="1"/>
          </p:cNvSpPr>
          <p:nvPr>
            <p:ph type="body" sz="quarter" idx="41"/>
          </p:nvPr>
        </p:nvSpPr>
        <p:spPr bwMode="gray">
          <a:xfrm>
            <a:off x="540070" y="4038600"/>
            <a:ext cx="3416845" cy="1771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Bild 2"/>
          <p:cNvSpPr>
            <a:spLocks noGrp="1" noChangeAspect="1"/>
          </p:cNvSpPr>
          <p:nvPr>
            <p:ph type="pic" sz="quarter" idx="26"/>
          </p:nvPr>
        </p:nvSpPr>
        <p:spPr bwMode="gray">
          <a:xfrm>
            <a:off x="5163194" y="1761768"/>
            <a:ext cx="1864800" cy="186626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3" name="Text 2"/>
          <p:cNvSpPr>
            <a:spLocks noGrp="1"/>
          </p:cNvSpPr>
          <p:nvPr>
            <p:ph type="body" sz="quarter" idx="42"/>
          </p:nvPr>
        </p:nvSpPr>
        <p:spPr bwMode="gray">
          <a:xfrm>
            <a:off x="4387171" y="4038600"/>
            <a:ext cx="3416845" cy="1771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Bild 3"/>
          <p:cNvSpPr>
            <a:spLocks noGrp="1" noChangeAspect="1"/>
          </p:cNvSpPr>
          <p:nvPr>
            <p:ph type="pic" sz="quarter" idx="27"/>
          </p:nvPr>
        </p:nvSpPr>
        <p:spPr bwMode="gray">
          <a:xfrm>
            <a:off x="9010295" y="1761768"/>
            <a:ext cx="1864800" cy="186626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Text 3"/>
          <p:cNvSpPr>
            <a:spLocks noGrp="1"/>
          </p:cNvSpPr>
          <p:nvPr>
            <p:ph type="body" sz="quarter" idx="43"/>
          </p:nvPr>
        </p:nvSpPr>
        <p:spPr bwMode="gray">
          <a:xfrm>
            <a:off x="8234272" y="4038600"/>
            <a:ext cx="3416845" cy="1771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9D46620-1478-4D37-89F7-393B0940BB0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183560" y="1630106"/>
            <a:ext cx="2129868" cy="2129591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24666D4-2A96-4649-B807-00732A2AB95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030660" y="1630106"/>
            <a:ext cx="2129868" cy="2129591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1469F2D-DBB6-49BA-850E-617B7E5F4AC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877761" y="1630106"/>
            <a:ext cx="2129868" cy="2129591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D092134-6A07-4302-9A17-16691A7C8D4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FBFDE5DB-5BDB-45FE-85B6-6F6BDB31ED9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97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kombina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DAA46E-73BA-4F1E-8A18-19B51DD2C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82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DAA46E-73BA-4F1E-8A18-19B51DD2C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4A8B0E3-DCC3-48FB-86E1-4C7CFC3F1D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8" name="Bild 3"/>
          <p:cNvSpPr>
            <a:spLocks noGrp="1" noChangeAspect="1"/>
          </p:cNvSpPr>
          <p:nvPr>
            <p:ph type="pic" sz="quarter" idx="22"/>
          </p:nvPr>
        </p:nvSpPr>
        <p:spPr bwMode="gray">
          <a:xfrm>
            <a:off x="8234272" y="1512000"/>
            <a:ext cx="3957727" cy="42984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>
          <a:xfrm>
            <a:off x="540069" y="6480000"/>
            <a:ext cx="540070" cy="198000"/>
          </a:xfrm>
          <a:prstGeom prst="rect">
            <a:avLst/>
          </a:prstGeom>
        </p:spPr>
        <p:txBody>
          <a:bodyPr/>
          <a:lstStyle/>
          <a:p>
            <a:fld id="{02CEFE82-39F2-4F47-8A0C-D5AB3496FA5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9C003885-9E5D-4926-B399-E989BC06C0C6}"/>
              </a:ext>
            </a:extLst>
          </p:cNvPr>
          <p:cNvSpPr>
            <a:spLocks noGrp="1"/>
          </p:cNvSpPr>
          <p:nvPr>
            <p:ph sz="quarter" idx="23"/>
          </p:nvPr>
        </p:nvSpPr>
        <p:spPr bwMode="gray">
          <a:xfrm>
            <a:off x="540069" y="1511850"/>
            <a:ext cx="7263944" cy="4298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DB2662F6-115C-474F-AB66-B46B541993C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22F421F5-68DA-4088-82D6-D652B29810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40070" y="431999"/>
            <a:ext cx="11110593" cy="288000"/>
          </a:xfrm>
        </p:spPr>
        <p:txBody>
          <a:bodyPr lIns="28800"/>
          <a:lstStyle>
            <a:lvl1pPr marL="0" indent="0">
              <a:buNone/>
              <a:defRPr lang="de-DE" sz="16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Kapitelübersch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832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79F4D97-05E9-47B3-BD95-6B5FF6B9C3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21693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92" imgH="591" progId="TCLayout.ActiveDocument.1">
                  <p:embed/>
                </p:oleObj>
              </mc:Choice>
              <mc:Fallback>
                <p:oleObj name="think-cell Slide" r:id="rId23" imgW="592" imgH="59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79F4D97-05E9-47B3-BD95-6B5FF6B9C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7060D02-A5FA-4157-825B-E4A26F588C1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Aft>
                <a:spcPts val="1000"/>
              </a:spcAft>
            </a:pPr>
            <a:endParaRPr lang="en-US" sz="36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94A4432-6C2E-45BA-9882-94B667A7C84C}"/>
              </a:ext>
            </a:extLst>
          </p:cNvPr>
          <p:cNvSpPr/>
          <p:nvPr userDrawn="1"/>
        </p:nvSpPr>
        <p:spPr bwMode="gray">
          <a:xfrm>
            <a:off x="1" y="6318000"/>
            <a:ext cx="12192000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36005" bIns="3600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0" y="719999"/>
            <a:ext cx="11111046" cy="7920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0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cxnSp>
        <p:nvCxnSpPr>
          <p:cNvPr id="24" name="Line"/>
          <p:cNvCxnSpPr/>
          <p:nvPr userDrawn="1"/>
        </p:nvCxnSpPr>
        <p:spPr bwMode="gray">
          <a:xfrm flipV="1">
            <a:off x="540072" y="-737252"/>
            <a:ext cx="0" cy="72000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ne"/>
          <p:cNvCxnSpPr/>
          <p:nvPr userDrawn="1"/>
        </p:nvCxnSpPr>
        <p:spPr bwMode="gray">
          <a:xfrm flipV="1">
            <a:off x="11651118" y="-737252"/>
            <a:ext cx="0" cy="72000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ne"/>
          <p:cNvCxnSpPr/>
          <p:nvPr userDrawn="1"/>
        </p:nvCxnSpPr>
        <p:spPr bwMode="gray">
          <a:xfrm>
            <a:off x="-737348" y="432000"/>
            <a:ext cx="720094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Line"/>
          <p:cNvCxnSpPr/>
          <p:nvPr userDrawn="1"/>
        </p:nvCxnSpPr>
        <p:spPr bwMode="gray">
          <a:xfrm>
            <a:off x="-737348" y="1512000"/>
            <a:ext cx="720094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Line"/>
          <p:cNvCxnSpPr/>
          <p:nvPr userDrawn="1"/>
        </p:nvCxnSpPr>
        <p:spPr bwMode="gray">
          <a:xfrm>
            <a:off x="-737348" y="5810400"/>
            <a:ext cx="720094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2CED31F4-63E0-4256-92CD-3E6BC6B5B376}"/>
              </a:ext>
            </a:extLst>
          </p:cNvPr>
          <p:cNvSpPr txBox="1"/>
          <p:nvPr userDrawn="1"/>
        </p:nvSpPr>
        <p:spPr bwMode="gray">
          <a:xfrm>
            <a:off x="540070" y="6488999"/>
            <a:ext cx="2622230" cy="226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© </a:t>
            </a:r>
            <a:r>
              <a:rPr lang="en-US" sz="1200" dirty="0" err="1">
                <a:solidFill>
                  <a:schemeClr val="tx1"/>
                </a:solidFill>
              </a:rPr>
              <a:t>Elektrobit</a:t>
            </a:r>
            <a:r>
              <a:rPr lang="en-US" sz="1200" dirty="0">
                <a:solidFill>
                  <a:schemeClr val="tx1"/>
                </a:solidFill>
              </a:rPr>
              <a:t> (EB) 2023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26466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91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27" indent="-270027" algn="l" defTabSz="914491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72" indent="-270027" algn="l" defTabSz="914491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108" indent="-270027" algn="l" defTabSz="914491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44" indent="-270027" algn="l" defTabSz="914491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180" indent="-270027" algn="l" defTabSz="914491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51" indent="-228623" algn="l" defTabSz="914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7" indent="-228623" algn="l" defTabSz="914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43" indent="-228623" algn="l" defTabSz="914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89" indent="-228623" algn="l" defTabSz="914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2">
          <p15:clr>
            <a:srgbClr val="F26B43"/>
          </p15:clr>
        </p15:guide>
        <p15:guide id="2" orient="horz" pos="3666">
          <p15:clr>
            <a:srgbClr val="F26B43"/>
          </p15:clr>
        </p15:guide>
        <p15:guide id="3" orient="horz" pos="272">
          <p15:clr>
            <a:srgbClr val="F26B43"/>
          </p15:clr>
        </p15:guide>
        <p15:guide id="4" pos="339">
          <p15:clr>
            <a:srgbClr val="F26B43"/>
          </p15:clr>
        </p15:guide>
        <p15:guide id="5" pos="73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3F783-5167-45E9-B722-0D0E135EAF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69" y="6480000"/>
            <a:ext cx="540070" cy="198000"/>
          </a:xfrm>
        </p:spPr>
        <p:txBody>
          <a:bodyPr anchor="ctr">
            <a:normAutofit fontScale="7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2CEFE82-39F2-4F47-8A0C-D5AB3496FA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73C15F6A-D47B-0ABA-3DEC-7FD7F052B43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40000" y="1512000"/>
            <a:ext cx="10548210" cy="4298400"/>
          </a:xfrm>
        </p:spPr>
        <p:txBody>
          <a:bodyPr/>
          <a:lstStyle/>
          <a:p>
            <a:pPr marL="0" indent="0">
              <a:buClr>
                <a:schemeClr val="tx2"/>
              </a:buClr>
              <a:buNone/>
            </a:pPr>
            <a:r>
              <a:rPr lang="en-US" sz="2000" dirty="0">
                <a:solidFill>
                  <a:srgbClr val="339933"/>
                </a:solidFill>
                <a:latin typeface="+mj-lt"/>
                <a:ea typeface="Calibri Light" charset="0"/>
                <a:cs typeface="Calibri Light" charset="0"/>
              </a:rPr>
              <a:t>Personal background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Bachelor of Technology degree in Electronics </a:t>
            </a:r>
            <a:r>
              <a:rPr lang="de-DE" dirty="0"/>
              <a:t>&amp; Communication Engineering (JAWAHARLAL NEHRU TECHNOLOGICAL UNIVERSITY OF KAKINADA, India)</a:t>
            </a:r>
          </a:p>
          <a:p>
            <a:pPr marL="177782" indent="-177782">
              <a:spcBef>
                <a:spcPts val="0"/>
              </a:spcBef>
            </a:pPr>
            <a:r>
              <a:rPr lang="de-DE" dirty="0"/>
              <a:t>1.3+ Year Experience in Automotive software development.</a:t>
            </a:r>
          </a:p>
          <a:p>
            <a:pPr marL="177782" indent="-177782">
              <a:spcBef>
                <a:spcPts val="0"/>
              </a:spcBef>
            </a:pPr>
            <a:r>
              <a:rPr lang="de-DE" dirty="0"/>
              <a:t>Advanced Embedded system certification from Vector India Pvt Ltd – Bangalore.</a:t>
            </a:r>
            <a:endParaRPr lang="en-US" dirty="0"/>
          </a:p>
          <a:p>
            <a:pPr marL="0" indent="0">
              <a:buClr>
                <a:schemeClr val="tx2"/>
              </a:buClr>
              <a:buNone/>
            </a:pPr>
            <a:r>
              <a:rPr lang="en-US" sz="2000" dirty="0">
                <a:solidFill>
                  <a:srgbClr val="339933"/>
                </a:solidFill>
                <a:latin typeface="+mj-lt"/>
                <a:ea typeface="Calibri Light" charset="0"/>
                <a:cs typeface="Calibri Light" charset="0"/>
              </a:rPr>
              <a:t>Professional experience (selection)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Tools – EB </a:t>
            </a:r>
            <a:r>
              <a:rPr lang="en-US" dirty="0" err="1"/>
              <a:t>Cadian</a:t>
            </a:r>
            <a:r>
              <a:rPr lang="en-US" dirty="0"/>
              <a:t>, </a:t>
            </a:r>
            <a:r>
              <a:rPr lang="en-US" dirty="0" err="1"/>
              <a:t>CANoe</a:t>
            </a:r>
            <a:r>
              <a:rPr lang="en-US" dirty="0"/>
              <a:t>, Git, visual studio, Jenkins, Eclipse , EB </a:t>
            </a:r>
            <a:r>
              <a:rPr lang="en-US" dirty="0" err="1"/>
              <a:t>Tresos</a:t>
            </a:r>
            <a:r>
              <a:rPr lang="en-US"/>
              <a:t> , </a:t>
            </a:r>
            <a:r>
              <a:rPr lang="en-US" dirty="0"/>
              <a:t>EB </a:t>
            </a:r>
            <a:r>
              <a:rPr lang="en-US" dirty="0" err="1"/>
              <a:t>Xelor</a:t>
            </a:r>
            <a:r>
              <a:rPr lang="en-US" dirty="0"/>
              <a:t>.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Worked  and delivered OTA POC.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Protocols  - CAN, I2C,SPI,UART, SOME/IP, Ethernet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Good Experience in Unit testing using GTEST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Good Knowledge on  C,C++ Programming.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Udemy certified on Python, CI/CD with Docker, Ansible, Kubernetes</a:t>
            </a:r>
          </a:p>
          <a:p>
            <a:pPr marL="177782" indent="-177782">
              <a:spcBef>
                <a:spcPts val="0"/>
              </a:spcBef>
            </a:pPr>
            <a:r>
              <a:rPr lang="en-US" dirty="0"/>
              <a:t>Agile methodology – SCRUM, Kanban, </a:t>
            </a:r>
            <a:r>
              <a:rPr lang="en-US" dirty="0" err="1"/>
              <a:t>SAFe</a:t>
            </a:r>
            <a:r>
              <a:rPr lang="en-US" dirty="0"/>
              <a:t> </a:t>
            </a:r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31833967-09E4-0C21-ABF4-CBB693F45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70" y="719999"/>
            <a:ext cx="11111046" cy="792001"/>
          </a:xfrm>
        </p:spPr>
        <p:txBody>
          <a:bodyPr/>
          <a:lstStyle/>
          <a:p>
            <a:r>
              <a:rPr lang="de-DE" dirty="0"/>
              <a:t>JUREDDI ANIL NARASIMHA KUMAR, (Associate)</a:t>
            </a:r>
            <a:endParaRPr lang="en-US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B8427A6-5D29-FAAD-2A48-6B591E8FD2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32000"/>
            <a:ext cx="11110593" cy="288000"/>
          </a:xfrm>
        </p:spPr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Short Prof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61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FG26uaIv.0t6FLyow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zkSHRytyKKTZMUCPx8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HSD_X2fRm8.7ac.Wyc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NgIauegq7EsAOkm86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m4PpSH9Kf.cxDsHz6D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n_I0pjlw_RA54O7r8o8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I.D.lba2j9IIUTQUF9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oq..1Y9qCYXn8ph3K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iRJetM2ivDu33pWZOJ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lIoFGM.l_7D3jjbfk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k62a2pB1hvHUnqtLmH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mYiC84kRT5oqeokjnm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4zPnxhr1E8jGJTtTPF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YaD6gc.9qTvy22SNK8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PZqzhx63ne6kaEM0F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L9zb7eSWfHHiao3lXI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GeofAU5998WmlB4f2i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.WLBxqWbB0.ibPCMS6g"/>
</p:tagLst>
</file>

<file path=ppt/theme/theme1.xml><?xml version="1.0" encoding="utf-8"?>
<a:theme xmlns:a="http://schemas.openxmlformats.org/drawingml/2006/main" name="Elektrobit">
  <a:themeElements>
    <a:clrScheme name="Benutzerdefiniert 6">
      <a:dk1>
        <a:srgbClr val="3F3F3F"/>
      </a:dk1>
      <a:lt1>
        <a:sysClr val="window" lastClr="FFFFFF"/>
      </a:lt1>
      <a:dk2>
        <a:srgbClr val="3F3F3F"/>
      </a:dk2>
      <a:lt2>
        <a:srgbClr val="FFFFFF"/>
      </a:lt2>
      <a:accent1>
        <a:srgbClr val="00EB00"/>
      </a:accent1>
      <a:accent2>
        <a:srgbClr val="FF9900"/>
      </a:accent2>
      <a:accent3>
        <a:srgbClr val="3399FF"/>
      </a:accent3>
      <a:accent4>
        <a:srgbClr val="F24B4B"/>
      </a:accent4>
      <a:accent5>
        <a:srgbClr val="5D5D5D"/>
      </a:accent5>
      <a:accent6>
        <a:srgbClr val="999999"/>
      </a:accent6>
      <a:hlink>
        <a:srgbClr val="5D5D5D"/>
      </a:hlink>
      <a:folHlink>
        <a:srgbClr val="999999"/>
      </a:folHlink>
    </a:clrScheme>
    <a:fontScheme name="Benutzerdefiniert 2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000"/>
          </a:spcAft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B Quote_Template-en.pptx" id="{F281311C-8A73-4D33-BAAF-49020270B817}" vid="{81B3CC2C-69D1-4A78-AC89-2A0C3C5F52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2</TotalTime>
  <Words>139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Elektrobit</vt:lpstr>
      <vt:lpstr>think-cell Slide</vt:lpstr>
      <vt:lpstr>JUREDDI ANIL NARASIMHA KUMAR, (Associat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ujeesh Marangalath, Expert</dc:title>
  <dc:creator>Marangalath, Jujeesh</dc:creator>
  <cp:lastModifiedBy>Narasimha Kumar, Jureddi Anil</cp:lastModifiedBy>
  <cp:revision>17</cp:revision>
  <dcterms:created xsi:type="dcterms:W3CDTF">2022-12-15T18:28:13Z</dcterms:created>
  <dcterms:modified xsi:type="dcterms:W3CDTF">2023-10-27T09:18:45Z</dcterms:modified>
</cp:coreProperties>
</file>